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1752" r:id="rId6"/>
    <p:sldId id="258" r:id="rId7"/>
    <p:sldId id="271" r:id="rId8"/>
    <p:sldId id="285" r:id="rId9"/>
    <p:sldId id="295" r:id="rId10"/>
    <p:sldId id="262" r:id="rId11"/>
    <p:sldId id="268" r:id="rId12"/>
    <p:sldId id="263" r:id="rId13"/>
    <p:sldId id="267" r:id="rId14"/>
    <p:sldId id="1753" r:id="rId15"/>
    <p:sldId id="1754" r:id="rId16"/>
    <p:sldId id="264" r:id="rId17"/>
    <p:sldId id="273" r:id="rId18"/>
    <p:sldId id="265" r:id="rId19"/>
    <p:sldId id="283" r:id="rId20"/>
    <p:sldId id="261" r:id="rId21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>
        <p:scale>
          <a:sx n="66" d="100"/>
          <a:sy n="66" d="100"/>
        </p:scale>
        <p:origin x="1330" y="47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10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0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zh-CN" altLang="en-US" sz="2000" cap="all" dirty="0">
                <a:solidFill>
                  <a:schemeClr val="bg1"/>
                </a:solidFill>
                <a:cs typeface="+mn-ea"/>
                <a:sym typeface="+mn-lt"/>
              </a:rPr>
              <a:t>平台应用研发</a:t>
            </a:r>
            <a:endParaRPr lang="en-US" altLang="zh-CN" sz="2000" cap="all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/>
          </a:bodyPr>
          <a:lstStyle/>
          <a:p>
            <a:r>
              <a:rPr lang="zh-CN" altLang="en-US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述职答辩</a:t>
            </a: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答辩人：陈仲贤  </a:t>
            </a:r>
            <a:br>
              <a:rPr lang="en-US" altLang="zh-CN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入职时间：</a:t>
            </a:r>
            <a:r>
              <a:rPr lang="en-US" altLang="zh-CN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2022.07.19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业务描述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问题表达</a:t>
              </a:r>
              <a:endParaRPr lang="en-US" altLang="zh-CN" sz="1000" dirty="0">
                <a:cs typeface="+mn-ea"/>
                <a:sym typeface="+mn-lt"/>
              </a:endParaRPr>
            </a:p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12634" y="4856099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语言表达能力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对业务了解更深刻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对业务中可能存在问题考虑的更多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业务问题考虑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3"/>
              <a:ext cx="2739853" cy="772316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利用缓存 缓解压力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 err="1">
                  <a:cs typeface="+mn-ea"/>
                  <a:sym typeface="+mn-lt"/>
                </a:rPr>
                <a:t>Hbase</a:t>
              </a:r>
              <a:r>
                <a:rPr lang="en-US" altLang="zh-CN" sz="1000" dirty="0"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3" y="2301448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大数据量存储方案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dirty="0">
                  <a:cs typeface="+mn-ea"/>
                  <a:sym typeface="+mn-lt"/>
                </a:rPr>
                <a:t>在这三个月中主要提升点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DC0AE-C1D4-C7ED-1F6D-8E413609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时方案说明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5A0C73-0F87-BDB1-2C48-C5E7264C8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A86CFEB-7A0F-3881-EC00-D72D34AD3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756" y="1890254"/>
            <a:ext cx="10175051" cy="292481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A939A1C2-2D4A-BFBB-F0D8-05FEE776B6F7}"/>
              </a:ext>
            </a:extLst>
          </p:cNvPr>
          <p:cNvSpPr txBox="1"/>
          <p:nvPr/>
        </p:nvSpPr>
        <p:spPr>
          <a:xfrm>
            <a:off x="669924" y="5491955"/>
            <a:ext cx="4618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/>
              <a:t>Redis </a:t>
            </a:r>
            <a:r>
              <a:rPr lang="zh-CN" altLang="en-US" dirty="0"/>
              <a:t>为了缓解数据库压力</a:t>
            </a:r>
          </a:p>
        </p:txBody>
      </p:sp>
    </p:spTree>
    <p:extLst>
      <p:ext uri="{BB962C8B-B14F-4D97-AF65-F5344CB8AC3E}">
        <p14:creationId xmlns:p14="http://schemas.microsoft.com/office/powerpoint/2010/main" val="2843000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DC0AE-C1D4-C7ED-1F6D-8E413609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历史方案说明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5A0C73-0F87-BDB1-2C48-C5E7264C8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50E542F-62B7-6B6B-2987-994FD4A35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976" y="1154376"/>
            <a:ext cx="11626048" cy="489918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5FD5E7A-B4D6-3B6B-AB00-2355AC2BA298}"/>
              </a:ext>
            </a:extLst>
          </p:cNvPr>
          <p:cNvSpPr txBox="1"/>
          <p:nvPr/>
        </p:nvSpPr>
        <p:spPr>
          <a:xfrm>
            <a:off x="416689" y="6240463"/>
            <a:ext cx="2650602" cy="368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 err="1"/>
              <a:t>Mysq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02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自我反省存在的问题，和改进方向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586192D-DCB4-40BC-8AAD-BEC112EC1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97346"/>
            <a:ext cx="10845800" cy="2972700"/>
            <a:chOff x="673100" y="1197346"/>
            <a:chExt cx="10845800" cy="297270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874402" y="3464022"/>
              <a:ext cx="655558" cy="706024"/>
              <a:chOff x="1095906" y="3237442"/>
              <a:chExt cx="910153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1095906" y="3237442"/>
                <a:ext cx="910153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1283940" y="3384504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849169" y="1197346"/>
              <a:ext cx="706024" cy="706024"/>
              <a:chOff x="-1827930" y="90471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-1827930" y="90471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-1604863" y="293650"/>
                <a:ext cx="534085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CC8FA32-5E42-4983-9D0B-8C97D4DF2C61}"/>
                </a:ext>
              </a:extLst>
            </p:cNvPr>
            <p:cNvSpPr/>
            <p:nvPr/>
          </p:nvSpPr>
          <p:spPr bwMode="auto">
            <a:xfrm>
              <a:off x="1127330" y="13366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技术深度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8724BA88-89B1-4E51-8307-CF322D13641D}"/>
                </a:ext>
              </a:extLst>
            </p:cNvPr>
            <p:cNvSpPr/>
            <p:nvPr/>
          </p:nvSpPr>
          <p:spPr bwMode="auto">
            <a:xfrm>
              <a:off x="1127330" y="362365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代码优化</a:t>
              </a: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084BC0D-7B3C-2F1F-4C1B-05F48D46CDAE}"/>
              </a:ext>
            </a:extLst>
          </p:cNvPr>
          <p:cNvSpPr txBox="1"/>
          <p:nvPr/>
        </p:nvSpPr>
        <p:spPr>
          <a:xfrm>
            <a:off x="1529960" y="1903370"/>
            <a:ext cx="73941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目的：提升定位问题的速度</a:t>
            </a:r>
            <a:br>
              <a:rPr lang="en-US" altLang="zh-CN" sz="2400" dirty="0"/>
            </a:br>
            <a:r>
              <a:rPr lang="zh-CN" altLang="en-US" sz="2400" dirty="0"/>
              <a:t>方法：多了解框架的原理 ，同时提升业务理解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B400742-37D5-C6EF-6DFF-AB93E3A6E13E}"/>
              </a:ext>
            </a:extLst>
          </p:cNvPr>
          <p:cNvSpPr txBox="1"/>
          <p:nvPr/>
        </p:nvSpPr>
        <p:spPr>
          <a:xfrm>
            <a:off x="1817225" y="4386805"/>
            <a:ext cx="69563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目的：写出的代码可读性更高</a:t>
            </a:r>
            <a:endParaRPr lang="en-US" altLang="zh-CN" sz="2400" dirty="0"/>
          </a:p>
          <a:p>
            <a:r>
              <a:rPr lang="zh-CN" altLang="en-US" sz="2400" dirty="0"/>
              <a:t>方法：多学习设计模式，多打有意义的注释</a:t>
            </a:r>
          </a:p>
        </p:txBody>
      </p: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未来规划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怎么去提升能力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未来规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--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高技术深度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DEF281C-97E6-4384-88BA-8976F17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2" cy="5603557"/>
            <a:chOff x="1889598" y="1254441"/>
            <a:chExt cx="8420063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6AC6544-C3A3-43B4-89CB-82D08E2CD03C}"/>
                </a:ext>
              </a:extLst>
            </p:cNvPr>
            <p:cNvSpPr/>
            <p:nvPr/>
          </p:nvSpPr>
          <p:spPr>
            <a:xfrm>
              <a:off x="3778986" y="5538097"/>
              <a:ext cx="271281" cy="211488"/>
            </a:xfrm>
            <a:custGeom>
              <a:avLst/>
              <a:gdLst>
                <a:gd name="connsiteX0" fmla="*/ 427673 w 608989"/>
                <a:gd name="connsiteY0" fmla="*/ 372781 h 474764"/>
                <a:gd name="connsiteX1" fmla="*/ 393797 w 608989"/>
                <a:gd name="connsiteY1" fmla="*/ 406614 h 474764"/>
                <a:gd name="connsiteX2" fmla="*/ 427673 w 608989"/>
                <a:gd name="connsiteY2" fmla="*/ 440448 h 474764"/>
                <a:gd name="connsiteX3" fmla="*/ 461549 w 608989"/>
                <a:gd name="connsiteY3" fmla="*/ 406614 h 474764"/>
                <a:gd name="connsiteX4" fmla="*/ 427673 w 608989"/>
                <a:gd name="connsiteY4" fmla="*/ 372781 h 474764"/>
                <a:gd name="connsiteX5" fmla="*/ 149568 w 608989"/>
                <a:gd name="connsiteY5" fmla="*/ 372781 h 474764"/>
                <a:gd name="connsiteX6" fmla="*/ 115692 w 608989"/>
                <a:gd name="connsiteY6" fmla="*/ 406614 h 474764"/>
                <a:gd name="connsiteX7" fmla="*/ 149568 w 608989"/>
                <a:gd name="connsiteY7" fmla="*/ 440448 h 474764"/>
                <a:gd name="connsiteX8" fmla="*/ 183444 w 608989"/>
                <a:gd name="connsiteY8" fmla="*/ 406614 h 474764"/>
                <a:gd name="connsiteX9" fmla="*/ 149568 w 608989"/>
                <a:gd name="connsiteY9" fmla="*/ 372781 h 474764"/>
                <a:gd name="connsiteX10" fmla="*/ 413316 w 608989"/>
                <a:gd name="connsiteY10" fmla="*/ 194754 h 474764"/>
                <a:gd name="connsiteX11" fmla="*/ 413316 w 608989"/>
                <a:gd name="connsiteY11" fmla="*/ 269348 h 474764"/>
                <a:gd name="connsiteX12" fmla="*/ 477196 w 608989"/>
                <a:gd name="connsiteY12" fmla="*/ 269348 h 474764"/>
                <a:gd name="connsiteX13" fmla="*/ 483971 w 608989"/>
                <a:gd name="connsiteY13" fmla="*/ 256137 h 474764"/>
                <a:gd name="connsiteX14" fmla="*/ 449611 w 608989"/>
                <a:gd name="connsiteY14" fmla="*/ 207965 h 474764"/>
                <a:gd name="connsiteX15" fmla="*/ 424124 w 608989"/>
                <a:gd name="connsiteY15" fmla="*/ 194754 h 474764"/>
                <a:gd name="connsiteX16" fmla="*/ 231999 w 608989"/>
                <a:gd name="connsiteY16" fmla="*/ 194754 h 474764"/>
                <a:gd name="connsiteX17" fmla="*/ 205705 w 608989"/>
                <a:gd name="connsiteY17" fmla="*/ 207321 h 474764"/>
                <a:gd name="connsiteX18" fmla="*/ 165860 w 608989"/>
                <a:gd name="connsiteY18" fmla="*/ 256782 h 474764"/>
                <a:gd name="connsiteX19" fmla="*/ 171990 w 608989"/>
                <a:gd name="connsiteY19" fmla="*/ 269348 h 474764"/>
                <a:gd name="connsiteX20" fmla="*/ 374439 w 608989"/>
                <a:gd name="connsiteY20" fmla="*/ 269348 h 474764"/>
                <a:gd name="connsiteX21" fmla="*/ 374439 w 608989"/>
                <a:gd name="connsiteY21" fmla="*/ 194754 h 474764"/>
                <a:gd name="connsiteX22" fmla="*/ 217965 w 608989"/>
                <a:gd name="connsiteY22" fmla="*/ 162371 h 474764"/>
                <a:gd name="connsiteX23" fmla="*/ 442030 w 608989"/>
                <a:gd name="connsiteY23" fmla="*/ 162371 h 474764"/>
                <a:gd name="connsiteX24" fmla="*/ 477196 w 608989"/>
                <a:gd name="connsiteY24" fmla="*/ 180577 h 474764"/>
                <a:gd name="connsiteX25" fmla="*/ 524783 w 608989"/>
                <a:gd name="connsiteY25" fmla="*/ 248243 h 474764"/>
                <a:gd name="connsiteX26" fmla="*/ 544625 w 608989"/>
                <a:gd name="connsiteY26" fmla="*/ 257910 h 474764"/>
                <a:gd name="connsiteX27" fmla="*/ 550594 w 608989"/>
                <a:gd name="connsiteY27" fmla="*/ 257104 h 474764"/>
                <a:gd name="connsiteX28" fmla="*/ 586728 w 608989"/>
                <a:gd name="connsiteY28" fmla="*/ 245826 h 474764"/>
                <a:gd name="connsiteX29" fmla="*/ 605118 w 608989"/>
                <a:gd name="connsiteY29" fmla="*/ 249693 h 474764"/>
                <a:gd name="connsiteX30" fmla="*/ 608828 w 608989"/>
                <a:gd name="connsiteY30" fmla="*/ 264354 h 474764"/>
                <a:gd name="connsiteX31" fmla="*/ 590277 w 608989"/>
                <a:gd name="connsiteY31" fmla="*/ 401942 h 474764"/>
                <a:gd name="connsiteX32" fmla="*/ 563337 w 608989"/>
                <a:gd name="connsiteY32" fmla="*/ 425625 h 474764"/>
                <a:gd name="connsiteX33" fmla="*/ 493166 w 608989"/>
                <a:gd name="connsiteY33" fmla="*/ 425625 h 474764"/>
                <a:gd name="connsiteX34" fmla="*/ 427673 w 608989"/>
                <a:gd name="connsiteY34" fmla="*/ 474764 h 474764"/>
                <a:gd name="connsiteX35" fmla="*/ 362341 w 608989"/>
                <a:gd name="connsiteY35" fmla="*/ 425625 h 474764"/>
                <a:gd name="connsiteX36" fmla="*/ 215061 w 608989"/>
                <a:gd name="connsiteY36" fmla="*/ 425625 h 474764"/>
                <a:gd name="connsiteX37" fmla="*/ 149568 w 608989"/>
                <a:gd name="connsiteY37" fmla="*/ 474764 h 474764"/>
                <a:gd name="connsiteX38" fmla="*/ 84074 w 608989"/>
                <a:gd name="connsiteY38" fmla="*/ 425625 h 474764"/>
                <a:gd name="connsiteX39" fmla="*/ 21485 w 608989"/>
                <a:gd name="connsiteY39" fmla="*/ 425625 h 474764"/>
                <a:gd name="connsiteX40" fmla="*/ 4869 w 608989"/>
                <a:gd name="connsiteY40" fmla="*/ 418214 h 474764"/>
                <a:gd name="connsiteX41" fmla="*/ 352 w 608989"/>
                <a:gd name="connsiteY41" fmla="*/ 400814 h 474764"/>
                <a:gd name="connsiteX42" fmla="*/ 15516 w 608989"/>
                <a:gd name="connsiteY42" fmla="*/ 309304 h 474764"/>
                <a:gd name="connsiteX43" fmla="*/ 41649 w 608989"/>
                <a:gd name="connsiteY43" fmla="*/ 281593 h 474764"/>
                <a:gd name="connsiteX44" fmla="*/ 95850 w 608989"/>
                <a:gd name="connsiteY44" fmla="*/ 269348 h 474764"/>
                <a:gd name="connsiteX45" fmla="*/ 125532 w 608989"/>
                <a:gd name="connsiteY45" fmla="*/ 250660 h 474764"/>
                <a:gd name="connsiteX46" fmla="*/ 181992 w 608989"/>
                <a:gd name="connsiteY46" fmla="*/ 179771 h 474764"/>
                <a:gd name="connsiteX47" fmla="*/ 217965 w 608989"/>
                <a:gd name="connsiteY47" fmla="*/ 162371 h 474764"/>
                <a:gd name="connsiteX48" fmla="*/ 168447 w 608989"/>
                <a:gd name="connsiteY48" fmla="*/ 0 h 474764"/>
                <a:gd name="connsiteX49" fmla="*/ 238143 w 608989"/>
                <a:gd name="connsiteY49" fmla="*/ 47040 h 474764"/>
                <a:gd name="connsiteX50" fmla="*/ 416257 w 608989"/>
                <a:gd name="connsiteY50" fmla="*/ 47040 h 474764"/>
                <a:gd name="connsiteX51" fmla="*/ 421743 w 608989"/>
                <a:gd name="connsiteY51" fmla="*/ 47524 h 474764"/>
                <a:gd name="connsiteX52" fmla="*/ 491762 w 608989"/>
                <a:gd name="connsiteY52" fmla="*/ 0 h 474764"/>
                <a:gd name="connsiteX53" fmla="*/ 556941 w 608989"/>
                <a:gd name="connsiteY53" fmla="*/ 37858 h 474764"/>
                <a:gd name="connsiteX54" fmla="*/ 557103 w 608989"/>
                <a:gd name="connsiteY54" fmla="*/ 46396 h 474764"/>
                <a:gd name="connsiteX55" fmla="*/ 549520 w 608989"/>
                <a:gd name="connsiteY55" fmla="*/ 50262 h 474764"/>
                <a:gd name="connsiteX56" fmla="*/ 500635 w 608989"/>
                <a:gd name="connsiteY56" fmla="*/ 50423 h 474764"/>
                <a:gd name="connsiteX57" fmla="*/ 496279 w 608989"/>
                <a:gd name="connsiteY57" fmla="*/ 52357 h 474764"/>
                <a:gd name="connsiteX58" fmla="*/ 495957 w 608989"/>
                <a:gd name="connsiteY58" fmla="*/ 52840 h 474764"/>
                <a:gd name="connsiteX59" fmla="*/ 479823 w 608989"/>
                <a:gd name="connsiteY59" fmla="*/ 75071 h 474764"/>
                <a:gd name="connsiteX60" fmla="*/ 495634 w 608989"/>
                <a:gd name="connsiteY60" fmla="*/ 97142 h 474764"/>
                <a:gd name="connsiteX61" fmla="*/ 495957 w 608989"/>
                <a:gd name="connsiteY61" fmla="*/ 97625 h 474764"/>
                <a:gd name="connsiteX62" fmla="*/ 499345 w 608989"/>
                <a:gd name="connsiteY62" fmla="*/ 99719 h 474764"/>
                <a:gd name="connsiteX63" fmla="*/ 549520 w 608989"/>
                <a:gd name="connsiteY63" fmla="*/ 99880 h 474764"/>
                <a:gd name="connsiteX64" fmla="*/ 556941 w 608989"/>
                <a:gd name="connsiteY64" fmla="*/ 104069 h 474764"/>
                <a:gd name="connsiteX65" fmla="*/ 556941 w 608989"/>
                <a:gd name="connsiteY65" fmla="*/ 112285 h 474764"/>
                <a:gd name="connsiteX66" fmla="*/ 491762 w 608989"/>
                <a:gd name="connsiteY66" fmla="*/ 150304 h 474764"/>
                <a:gd name="connsiteX67" fmla="*/ 421743 w 608989"/>
                <a:gd name="connsiteY67" fmla="*/ 102780 h 474764"/>
                <a:gd name="connsiteX68" fmla="*/ 416257 w 608989"/>
                <a:gd name="connsiteY68" fmla="*/ 103263 h 474764"/>
                <a:gd name="connsiteX69" fmla="*/ 238143 w 608989"/>
                <a:gd name="connsiteY69" fmla="*/ 103263 h 474764"/>
                <a:gd name="connsiteX70" fmla="*/ 168447 w 608989"/>
                <a:gd name="connsiteY70" fmla="*/ 150304 h 474764"/>
                <a:gd name="connsiteX71" fmla="*/ 103267 w 608989"/>
                <a:gd name="connsiteY71" fmla="*/ 112446 h 474764"/>
                <a:gd name="connsiteX72" fmla="*/ 103106 w 608989"/>
                <a:gd name="connsiteY72" fmla="*/ 103908 h 474764"/>
                <a:gd name="connsiteX73" fmla="*/ 110689 w 608989"/>
                <a:gd name="connsiteY73" fmla="*/ 99880 h 474764"/>
                <a:gd name="connsiteX74" fmla="*/ 159573 w 608989"/>
                <a:gd name="connsiteY74" fmla="*/ 99880 h 474764"/>
                <a:gd name="connsiteX75" fmla="*/ 164091 w 608989"/>
                <a:gd name="connsiteY75" fmla="*/ 97786 h 474764"/>
                <a:gd name="connsiteX76" fmla="*/ 164252 w 608989"/>
                <a:gd name="connsiteY76" fmla="*/ 97464 h 474764"/>
                <a:gd name="connsiteX77" fmla="*/ 180385 w 608989"/>
                <a:gd name="connsiteY77" fmla="*/ 75232 h 474764"/>
                <a:gd name="connsiteX78" fmla="*/ 164575 w 608989"/>
                <a:gd name="connsiteY78" fmla="*/ 53162 h 474764"/>
                <a:gd name="connsiteX79" fmla="*/ 164252 w 608989"/>
                <a:gd name="connsiteY79" fmla="*/ 52679 h 474764"/>
                <a:gd name="connsiteX80" fmla="*/ 160864 w 608989"/>
                <a:gd name="connsiteY80" fmla="*/ 50423 h 474764"/>
                <a:gd name="connsiteX81" fmla="*/ 160541 w 608989"/>
                <a:gd name="connsiteY81" fmla="*/ 50423 h 474764"/>
                <a:gd name="connsiteX82" fmla="*/ 110689 w 608989"/>
                <a:gd name="connsiteY82" fmla="*/ 50262 h 474764"/>
                <a:gd name="connsiteX83" fmla="*/ 103267 w 608989"/>
                <a:gd name="connsiteY83" fmla="*/ 46235 h 474764"/>
                <a:gd name="connsiteX84" fmla="*/ 103267 w 608989"/>
                <a:gd name="connsiteY84" fmla="*/ 37858 h 474764"/>
                <a:gd name="connsiteX85" fmla="*/ 168447 w 608989"/>
                <a:gd name="connsiteY85" fmla="*/ 0 h 47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608989" h="474764">
                  <a:moveTo>
                    <a:pt x="427673" y="372781"/>
                  </a:moveTo>
                  <a:cubicBezTo>
                    <a:pt x="408960" y="372781"/>
                    <a:pt x="393797" y="387926"/>
                    <a:pt x="393797" y="406614"/>
                  </a:cubicBezTo>
                  <a:cubicBezTo>
                    <a:pt x="393797" y="425303"/>
                    <a:pt x="408960" y="440448"/>
                    <a:pt x="427673" y="440448"/>
                  </a:cubicBezTo>
                  <a:cubicBezTo>
                    <a:pt x="446385" y="440448"/>
                    <a:pt x="461549" y="425303"/>
                    <a:pt x="461549" y="406614"/>
                  </a:cubicBezTo>
                  <a:cubicBezTo>
                    <a:pt x="461549" y="387926"/>
                    <a:pt x="446385" y="372781"/>
                    <a:pt x="427673" y="372781"/>
                  </a:cubicBezTo>
                  <a:close/>
                  <a:moveTo>
                    <a:pt x="149568" y="372781"/>
                  </a:moveTo>
                  <a:cubicBezTo>
                    <a:pt x="130855" y="372781"/>
                    <a:pt x="115692" y="387926"/>
                    <a:pt x="115692" y="406614"/>
                  </a:cubicBezTo>
                  <a:cubicBezTo>
                    <a:pt x="115692" y="425303"/>
                    <a:pt x="130855" y="440448"/>
                    <a:pt x="149568" y="440448"/>
                  </a:cubicBezTo>
                  <a:cubicBezTo>
                    <a:pt x="168280" y="440448"/>
                    <a:pt x="183444" y="425303"/>
                    <a:pt x="183444" y="406614"/>
                  </a:cubicBezTo>
                  <a:cubicBezTo>
                    <a:pt x="183444" y="387926"/>
                    <a:pt x="168280" y="372781"/>
                    <a:pt x="149568" y="372781"/>
                  </a:cubicBezTo>
                  <a:close/>
                  <a:moveTo>
                    <a:pt x="413316" y="194754"/>
                  </a:moveTo>
                  <a:lnTo>
                    <a:pt x="413316" y="269348"/>
                  </a:lnTo>
                  <a:lnTo>
                    <a:pt x="477196" y="269348"/>
                  </a:lnTo>
                  <a:cubicBezTo>
                    <a:pt x="486068" y="269348"/>
                    <a:pt x="489133" y="263387"/>
                    <a:pt x="483971" y="256137"/>
                  </a:cubicBezTo>
                  <a:lnTo>
                    <a:pt x="449611" y="207965"/>
                  </a:lnTo>
                  <a:cubicBezTo>
                    <a:pt x="444449" y="200715"/>
                    <a:pt x="432996" y="194754"/>
                    <a:pt x="424124" y="194754"/>
                  </a:cubicBezTo>
                  <a:close/>
                  <a:moveTo>
                    <a:pt x="231999" y="194754"/>
                  </a:moveTo>
                  <a:cubicBezTo>
                    <a:pt x="223127" y="194754"/>
                    <a:pt x="211351" y="200393"/>
                    <a:pt x="205705" y="207321"/>
                  </a:cubicBezTo>
                  <a:lnTo>
                    <a:pt x="165860" y="256782"/>
                  </a:lnTo>
                  <a:cubicBezTo>
                    <a:pt x="160376" y="263709"/>
                    <a:pt x="163118" y="269348"/>
                    <a:pt x="171990" y="269348"/>
                  </a:cubicBezTo>
                  <a:lnTo>
                    <a:pt x="374439" y="269348"/>
                  </a:lnTo>
                  <a:lnTo>
                    <a:pt x="374439" y="194754"/>
                  </a:lnTo>
                  <a:close/>
                  <a:moveTo>
                    <a:pt x="217965" y="162371"/>
                  </a:moveTo>
                  <a:lnTo>
                    <a:pt x="442030" y="162371"/>
                  </a:lnTo>
                  <a:cubicBezTo>
                    <a:pt x="454612" y="162371"/>
                    <a:pt x="470098" y="170427"/>
                    <a:pt x="477196" y="180577"/>
                  </a:cubicBezTo>
                  <a:lnTo>
                    <a:pt x="524783" y="248243"/>
                  </a:lnTo>
                  <a:cubicBezTo>
                    <a:pt x="528816" y="254043"/>
                    <a:pt x="536882" y="257910"/>
                    <a:pt x="544625" y="257910"/>
                  </a:cubicBezTo>
                  <a:cubicBezTo>
                    <a:pt x="546883" y="257910"/>
                    <a:pt x="548819" y="257748"/>
                    <a:pt x="550594" y="257104"/>
                  </a:cubicBezTo>
                  <a:lnTo>
                    <a:pt x="586728" y="245826"/>
                  </a:lnTo>
                  <a:cubicBezTo>
                    <a:pt x="593987" y="243571"/>
                    <a:pt x="600924" y="245021"/>
                    <a:pt x="605118" y="249693"/>
                  </a:cubicBezTo>
                  <a:cubicBezTo>
                    <a:pt x="608183" y="253398"/>
                    <a:pt x="609473" y="258554"/>
                    <a:pt x="608828" y="264354"/>
                  </a:cubicBezTo>
                  <a:lnTo>
                    <a:pt x="590277" y="401942"/>
                  </a:lnTo>
                  <a:cubicBezTo>
                    <a:pt x="588664" y="414992"/>
                    <a:pt x="576565" y="425625"/>
                    <a:pt x="563337" y="425625"/>
                  </a:cubicBezTo>
                  <a:lnTo>
                    <a:pt x="493166" y="425625"/>
                  </a:lnTo>
                  <a:cubicBezTo>
                    <a:pt x="484939" y="453981"/>
                    <a:pt x="458806" y="474764"/>
                    <a:pt x="427673" y="474764"/>
                  </a:cubicBezTo>
                  <a:cubicBezTo>
                    <a:pt x="396700" y="474764"/>
                    <a:pt x="370568" y="453981"/>
                    <a:pt x="362341" y="425625"/>
                  </a:cubicBezTo>
                  <a:lnTo>
                    <a:pt x="215061" y="425625"/>
                  </a:lnTo>
                  <a:cubicBezTo>
                    <a:pt x="206834" y="453981"/>
                    <a:pt x="180540" y="474764"/>
                    <a:pt x="149568" y="474764"/>
                  </a:cubicBezTo>
                  <a:cubicBezTo>
                    <a:pt x="118595" y="474764"/>
                    <a:pt x="92301" y="453981"/>
                    <a:pt x="84074" y="425625"/>
                  </a:cubicBezTo>
                  <a:lnTo>
                    <a:pt x="21485" y="425625"/>
                  </a:lnTo>
                  <a:cubicBezTo>
                    <a:pt x="14871" y="425625"/>
                    <a:pt x="8902" y="423048"/>
                    <a:pt x="4869" y="418214"/>
                  </a:cubicBezTo>
                  <a:cubicBezTo>
                    <a:pt x="836" y="413542"/>
                    <a:pt x="-777" y="407420"/>
                    <a:pt x="352" y="400814"/>
                  </a:cubicBezTo>
                  <a:lnTo>
                    <a:pt x="15516" y="309304"/>
                  </a:lnTo>
                  <a:cubicBezTo>
                    <a:pt x="17613" y="296576"/>
                    <a:pt x="29066" y="284332"/>
                    <a:pt x="41649" y="281593"/>
                  </a:cubicBezTo>
                  <a:lnTo>
                    <a:pt x="95850" y="269348"/>
                  </a:lnTo>
                  <a:cubicBezTo>
                    <a:pt x="105690" y="267093"/>
                    <a:pt x="119241" y="258554"/>
                    <a:pt x="125532" y="250660"/>
                  </a:cubicBezTo>
                  <a:lnTo>
                    <a:pt x="181992" y="179771"/>
                  </a:lnTo>
                  <a:cubicBezTo>
                    <a:pt x="189735" y="169943"/>
                    <a:pt x="205544" y="162371"/>
                    <a:pt x="217965" y="162371"/>
                  </a:cubicBezTo>
                  <a:close/>
                  <a:moveTo>
                    <a:pt x="168447" y="0"/>
                  </a:moveTo>
                  <a:cubicBezTo>
                    <a:pt x="200068" y="0"/>
                    <a:pt x="227011" y="19493"/>
                    <a:pt x="238143" y="47040"/>
                  </a:cubicBezTo>
                  <a:lnTo>
                    <a:pt x="416257" y="47040"/>
                  </a:lnTo>
                  <a:cubicBezTo>
                    <a:pt x="418193" y="47040"/>
                    <a:pt x="419968" y="47202"/>
                    <a:pt x="421743" y="47524"/>
                  </a:cubicBezTo>
                  <a:cubicBezTo>
                    <a:pt x="432875" y="19815"/>
                    <a:pt x="459979" y="0"/>
                    <a:pt x="491762" y="0"/>
                  </a:cubicBezTo>
                  <a:cubicBezTo>
                    <a:pt x="518543" y="0"/>
                    <a:pt x="543550" y="14499"/>
                    <a:pt x="556941" y="37858"/>
                  </a:cubicBezTo>
                  <a:cubicBezTo>
                    <a:pt x="558232" y="39952"/>
                    <a:pt x="558877" y="43335"/>
                    <a:pt x="557103" y="46396"/>
                  </a:cubicBezTo>
                  <a:cubicBezTo>
                    <a:pt x="555651" y="48812"/>
                    <a:pt x="552908" y="50262"/>
                    <a:pt x="549520" y="50262"/>
                  </a:cubicBezTo>
                  <a:cubicBezTo>
                    <a:pt x="549520" y="50262"/>
                    <a:pt x="513703" y="50423"/>
                    <a:pt x="500635" y="50423"/>
                  </a:cubicBezTo>
                  <a:cubicBezTo>
                    <a:pt x="497731" y="50423"/>
                    <a:pt x="496279" y="52357"/>
                    <a:pt x="496279" y="52357"/>
                  </a:cubicBezTo>
                  <a:lnTo>
                    <a:pt x="495957" y="52840"/>
                  </a:lnTo>
                  <a:cubicBezTo>
                    <a:pt x="489019" y="60895"/>
                    <a:pt x="481275" y="71366"/>
                    <a:pt x="479823" y="75071"/>
                  </a:cubicBezTo>
                  <a:cubicBezTo>
                    <a:pt x="481275" y="78777"/>
                    <a:pt x="489019" y="89087"/>
                    <a:pt x="495634" y="97142"/>
                  </a:cubicBezTo>
                  <a:lnTo>
                    <a:pt x="495957" y="97625"/>
                  </a:lnTo>
                  <a:cubicBezTo>
                    <a:pt x="496441" y="98269"/>
                    <a:pt x="498054" y="99719"/>
                    <a:pt x="499345" y="99719"/>
                  </a:cubicBezTo>
                  <a:cubicBezTo>
                    <a:pt x="511929" y="99719"/>
                    <a:pt x="549520" y="99880"/>
                    <a:pt x="549520" y="99880"/>
                  </a:cubicBezTo>
                  <a:cubicBezTo>
                    <a:pt x="552747" y="99880"/>
                    <a:pt x="555489" y="101491"/>
                    <a:pt x="556941" y="104069"/>
                  </a:cubicBezTo>
                  <a:cubicBezTo>
                    <a:pt x="558393" y="106485"/>
                    <a:pt x="558393" y="109868"/>
                    <a:pt x="556941" y="112285"/>
                  </a:cubicBezTo>
                  <a:cubicBezTo>
                    <a:pt x="543550" y="135644"/>
                    <a:pt x="518543" y="150304"/>
                    <a:pt x="491762" y="150304"/>
                  </a:cubicBezTo>
                  <a:cubicBezTo>
                    <a:pt x="459979" y="150304"/>
                    <a:pt x="432875" y="130489"/>
                    <a:pt x="421743" y="102780"/>
                  </a:cubicBezTo>
                  <a:cubicBezTo>
                    <a:pt x="419968" y="103102"/>
                    <a:pt x="418193" y="103263"/>
                    <a:pt x="416257" y="103263"/>
                  </a:cubicBezTo>
                  <a:lnTo>
                    <a:pt x="238143" y="103263"/>
                  </a:lnTo>
                  <a:cubicBezTo>
                    <a:pt x="227011" y="130811"/>
                    <a:pt x="200068" y="150304"/>
                    <a:pt x="168447" y="150304"/>
                  </a:cubicBezTo>
                  <a:cubicBezTo>
                    <a:pt x="141665" y="150304"/>
                    <a:pt x="116658" y="135805"/>
                    <a:pt x="103267" y="112446"/>
                  </a:cubicBezTo>
                  <a:cubicBezTo>
                    <a:pt x="101977" y="110352"/>
                    <a:pt x="101331" y="106969"/>
                    <a:pt x="103106" y="103908"/>
                  </a:cubicBezTo>
                  <a:cubicBezTo>
                    <a:pt x="104558" y="101330"/>
                    <a:pt x="107301" y="99880"/>
                    <a:pt x="110689" y="99880"/>
                  </a:cubicBezTo>
                  <a:cubicBezTo>
                    <a:pt x="110689" y="99880"/>
                    <a:pt x="146505" y="99880"/>
                    <a:pt x="159573" y="99880"/>
                  </a:cubicBezTo>
                  <a:cubicBezTo>
                    <a:pt x="162477" y="99880"/>
                    <a:pt x="163929" y="98108"/>
                    <a:pt x="164091" y="97786"/>
                  </a:cubicBezTo>
                  <a:lnTo>
                    <a:pt x="164252" y="97464"/>
                  </a:lnTo>
                  <a:cubicBezTo>
                    <a:pt x="171189" y="89248"/>
                    <a:pt x="178933" y="78777"/>
                    <a:pt x="180385" y="75232"/>
                  </a:cubicBezTo>
                  <a:cubicBezTo>
                    <a:pt x="178933" y="71527"/>
                    <a:pt x="171189" y="61217"/>
                    <a:pt x="164575" y="53162"/>
                  </a:cubicBezTo>
                  <a:lnTo>
                    <a:pt x="164252" y="52679"/>
                  </a:lnTo>
                  <a:cubicBezTo>
                    <a:pt x="163768" y="52034"/>
                    <a:pt x="162155" y="50423"/>
                    <a:pt x="160864" y="50423"/>
                  </a:cubicBezTo>
                  <a:lnTo>
                    <a:pt x="160541" y="50423"/>
                  </a:lnTo>
                  <a:cubicBezTo>
                    <a:pt x="147796" y="50423"/>
                    <a:pt x="110689" y="50262"/>
                    <a:pt x="110689" y="50262"/>
                  </a:cubicBezTo>
                  <a:cubicBezTo>
                    <a:pt x="107462" y="50262"/>
                    <a:pt x="104719" y="48812"/>
                    <a:pt x="103267" y="46235"/>
                  </a:cubicBezTo>
                  <a:cubicBezTo>
                    <a:pt x="101815" y="43657"/>
                    <a:pt x="101654" y="40435"/>
                    <a:pt x="103267" y="37858"/>
                  </a:cubicBezTo>
                  <a:cubicBezTo>
                    <a:pt x="116497" y="14499"/>
                    <a:pt x="141665" y="0"/>
                    <a:pt x="168447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46263" y="3823307"/>
              <a:ext cx="2202035" cy="571512"/>
              <a:chOff x="3173814" y="3758441"/>
              <a:chExt cx="2202035" cy="571512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3173814" y="3835621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设计能力</a:t>
                </a:r>
              </a:p>
            </p:txBody>
          </p: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2587301" y="1636679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r">
                <a:lnSpc>
                  <a:spcPct val="120000"/>
                </a:lnSpc>
              </a:pP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358084"/>
              <a:ext cx="2042181" cy="571511"/>
              <a:chOff x="8294591" y="1935010"/>
              <a:chExt cx="2042181" cy="571511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8861145" y="1975210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高语言表达能力</a:t>
                </a:r>
              </a:p>
            </p:txBody>
          </p: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3111771"/>
              <a:ext cx="2240903" cy="788716"/>
              <a:chOff x="8294591" y="1935010"/>
              <a:chExt cx="2240903" cy="78871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16221" y="1935010"/>
                <a:ext cx="1519273" cy="788716"/>
                <a:chOff x="4200208" y="2958531"/>
                <a:chExt cx="1519273" cy="788716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00208" y="2958531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多了解新的技术框架</a:t>
                  </a: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788709"/>
              <a:chOff x="8294591" y="1717812"/>
              <a:chExt cx="2240904" cy="788709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9059868" y="1717812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代码的可读性</a:t>
                </a:r>
              </a:p>
            </p:txBody>
          </p: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425099" y="4533499"/>
            <a:ext cx="9341802" cy="3108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425099" y="4237228"/>
            <a:ext cx="9341802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3472405" y="1466819"/>
              <a:ext cx="2854867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一：营销微应用服务平台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327271" y="2416459"/>
              <a:ext cx="3244991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二：车网互动公共服务平台</a:t>
              </a:r>
              <a:endParaRPr lang="id-ID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398380" y="3366099"/>
              <a:ext cx="1928892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掌握点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327270" y="4315739"/>
              <a:ext cx="1928892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不足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62308" y="5265379"/>
              <a:ext cx="1164963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未来规划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91221" y="2981325"/>
            <a:ext cx="4791016" cy="895350"/>
          </a:xfrm>
        </p:spPr>
        <p:txBody>
          <a:bodyPr>
            <a:noAutofit/>
          </a:bodyPr>
          <a:lstStyle/>
          <a:p>
            <a:r>
              <a:rPr lang="zh-CN" altLang="en-US" sz="3600" dirty="0">
                <a:latin typeface="+mn-lt"/>
                <a:ea typeface="+mn-ea"/>
                <a:cs typeface="+mn-ea"/>
                <a:sym typeface="+mn-lt"/>
              </a:rPr>
              <a:t>营销微应用服务平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FBB759-2DC4-43A7-BD6D-70435B38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工作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E4E5A61-E4B1-4BFE-88F9-5FD5186AD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9F03F9-27F8-48AB-95FE-6E1600434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C97F30-46D4-44DA-9336-2A04ED49EABC}"/>
              </a:ext>
            </a:extLst>
          </p:cNvPr>
          <p:cNvGrpSpPr>
            <a:grpSpLocks noChangeAspect="1"/>
          </p:cNvGrpSpPr>
          <p:nvPr/>
        </p:nvGrpSpPr>
        <p:grpSpPr>
          <a:xfrm>
            <a:off x="674686" y="1325009"/>
            <a:ext cx="9599706" cy="3767651"/>
            <a:chOff x="673100" y="1354418"/>
            <a:chExt cx="9599706" cy="2134088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E954A4D-5300-4298-8943-475694C28BA5}"/>
                </a:ext>
              </a:extLst>
            </p:cNvPr>
            <p:cNvSpPr/>
            <p:nvPr/>
          </p:nvSpPr>
          <p:spPr bwMode="auto">
            <a:xfrm>
              <a:off x="1559441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5655360-1676-449E-A2A4-683A8E9DD83A}"/>
                </a:ext>
              </a:extLst>
            </p:cNvPr>
            <p:cNvGrpSpPr/>
            <p:nvPr/>
          </p:nvGrpSpPr>
          <p:grpSpPr>
            <a:xfrm>
              <a:off x="673100" y="1905734"/>
              <a:ext cx="2453473" cy="1082008"/>
              <a:chOff x="983020" y="2248544"/>
              <a:chExt cx="1859222" cy="1082008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zh-CN" altLang="en-US" sz="1600" b="1" kern="0" dirty="0">
                    <a:cs typeface="+mn-ea"/>
                    <a:sym typeface="+mn-lt"/>
                  </a:rPr>
                  <a:t>现场问题排查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1078963" y="2768303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3F7DFF62-5653-44D7-A1AE-27950AC9128A}"/>
                </a:ext>
              </a:extLst>
            </p:cNvPr>
            <p:cNvCxnSpPr/>
            <p:nvPr/>
          </p:nvCxnSpPr>
          <p:spPr>
            <a:xfrm>
              <a:off x="3256355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830402A-FAE6-488A-9AAC-B97CF459E048}"/>
                </a:ext>
              </a:extLst>
            </p:cNvPr>
            <p:cNvSpPr/>
            <p:nvPr/>
          </p:nvSpPr>
          <p:spPr bwMode="auto">
            <a:xfrm>
              <a:off x="5121563" y="1358313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A27BA1F-81AC-4D8D-8AD7-A3C56B19FBBC}"/>
                </a:ext>
              </a:extLst>
            </p:cNvPr>
            <p:cNvGrpSpPr/>
            <p:nvPr/>
          </p:nvGrpSpPr>
          <p:grpSpPr>
            <a:xfrm>
              <a:off x="3710532" y="1942674"/>
              <a:ext cx="3325739" cy="1003884"/>
              <a:chOff x="1132901" y="2285484"/>
              <a:chExt cx="2520219" cy="1003884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F935EB0C-DB18-48C9-A84A-2172F143803E}"/>
                  </a:ext>
                </a:extLst>
              </p:cNvPr>
              <p:cNvSpPr/>
              <p:nvPr/>
            </p:nvSpPr>
            <p:spPr bwMode="auto">
              <a:xfrm>
                <a:off x="1559196" y="228548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zh-CN" altLang="en-US" sz="1600" b="1" kern="0" dirty="0">
                    <a:cs typeface="+mn-ea"/>
                    <a:sym typeface="+mn-lt"/>
                  </a:rPr>
                  <a:t>代码优化</a:t>
                </a: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AA42A61-10AF-4D71-8637-853CCC0FCFD7}"/>
                  </a:ext>
                </a:extLst>
              </p:cNvPr>
              <p:cNvSpPr/>
              <p:nvPr/>
            </p:nvSpPr>
            <p:spPr>
              <a:xfrm>
                <a:off x="1132901" y="2727119"/>
                <a:ext cx="252021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方法封装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—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方便后期使用</a:t>
                </a:r>
                <a:endParaRPr lang="en-US" altLang="zh-CN" sz="1600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lvl="0" algn="ctr"/>
                <a:endParaRPr lang="en-US" altLang="zh-CN" sz="1600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lvl="0" algn="ctr"/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  增加注释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—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增加代码可读性</a:t>
                </a:r>
                <a:endParaRPr lang="en-US" altLang="zh-CN" sz="16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1D50107-6A75-436A-9319-1C7D8AFCFB88}"/>
                </a:ext>
              </a:extLst>
            </p:cNvPr>
            <p:cNvSpPr/>
            <p:nvPr/>
          </p:nvSpPr>
          <p:spPr bwMode="auto">
            <a:xfrm>
              <a:off x="8759402" y="1384930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26D73AF-2A93-4B80-B656-A0F2F2F4E31E}"/>
                </a:ext>
              </a:extLst>
            </p:cNvPr>
            <p:cNvGrpSpPr/>
            <p:nvPr/>
          </p:nvGrpSpPr>
          <p:grpSpPr>
            <a:xfrm>
              <a:off x="7873061" y="1951014"/>
              <a:ext cx="2399745" cy="1036728"/>
              <a:chOff x="-16490" y="2293824"/>
              <a:chExt cx="1818508" cy="1036728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BCA818E7-C8FB-4FB1-A9FF-42B1F77393DC}"/>
                  </a:ext>
                </a:extLst>
              </p:cNvPr>
              <p:cNvSpPr/>
              <p:nvPr/>
            </p:nvSpPr>
            <p:spPr bwMode="auto">
              <a:xfrm>
                <a:off x="-16490" y="229382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Bug</a:t>
                </a:r>
                <a:r>
                  <a:rPr lang="zh-CN" altLang="en-US" sz="1600" b="1" kern="0" dirty="0">
                    <a:cs typeface="+mn-ea"/>
                    <a:sym typeface="+mn-lt"/>
                  </a:rPr>
                  <a:t>修复</a:t>
                </a: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14C6946-4445-4C98-A1C2-8DADCF5CF84A}"/>
                  </a:ext>
                </a:extLst>
              </p:cNvPr>
              <p:cNvSpPr/>
              <p:nvPr/>
            </p:nvSpPr>
            <p:spPr>
              <a:xfrm>
                <a:off x="38739" y="265682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5CA11FB-1319-4051-ACB6-F98DA2357A88}"/>
                  </a:ext>
                </a:extLst>
              </p:cNvPr>
              <p:cNvSpPr/>
              <p:nvPr/>
            </p:nvSpPr>
            <p:spPr>
              <a:xfrm>
                <a:off x="-16490" y="2685937"/>
                <a:ext cx="1763279" cy="64461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600" dirty="0" err="1">
                    <a:solidFill>
                      <a:schemeClr val="tx1"/>
                    </a:solidFill>
                    <a:cs typeface="+mn-ea"/>
                    <a:sym typeface="+mn-lt"/>
                  </a:rPr>
                  <a:t>MultipartFile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格式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Open-</a:t>
                </a:r>
                <a:r>
                  <a:rPr lang="en-US" altLang="zh-CN" sz="1600" dirty="0" err="1">
                    <a:solidFill>
                      <a:schemeClr val="tx1"/>
                    </a:solidFill>
                    <a:cs typeface="+mn-ea"/>
                    <a:sym typeface="+mn-lt"/>
                  </a:rPr>
                  <a:t>Fegin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传输时需要用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@RequestPart 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接收</a:t>
                </a:r>
                <a:endParaRPr lang="en-US" altLang="zh-CN" sz="16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4D5C6AC-5D86-4B58-A48E-0745CA7621DB}"/>
                </a:ext>
              </a:extLst>
            </p:cNvPr>
            <p:cNvCxnSpPr/>
            <p:nvPr/>
          </p:nvCxnSpPr>
          <p:spPr>
            <a:xfrm>
              <a:off x="7315201" y="2101790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2036E645-EFC6-2B60-3961-4AD868D8CF78}"/>
              </a:ext>
            </a:extLst>
          </p:cNvPr>
          <p:cNvSpPr/>
          <p:nvPr/>
        </p:nvSpPr>
        <p:spPr>
          <a:xfrm>
            <a:off x="801295" y="3020005"/>
            <a:ext cx="2121198" cy="69226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188513DB-FCC5-833A-F8EB-1EF179DC5174}"/>
              </a:ext>
            </a:extLst>
          </p:cNvPr>
          <p:cNvSpPr/>
          <p:nvPr/>
        </p:nvSpPr>
        <p:spPr>
          <a:xfrm>
            <a:off x="728414" y="3048831"/>
            <a:ext cx="2326864" cy="24841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跳转至其他的服务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b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</a:b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负载均衡问题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无法批量执行</a:t>
            </a:r>
            <a:r>
              <a:rPr lang="en-US" altLang="zh-CN" sz="2000" dirty="0" err="1">
                <a:solidFill>
                  <a:schemeClr val="tx1"/>
                </a:solidFill>
                <a:cs typeface="+mn-ea"/>
                <a:sym typeface="+mn-lt"/>
              </a:rPr>
              <a:t>Sql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逐条运行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9312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开发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57D2579-2A25-4795-A316-D64C845E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20240"/>
            <a:ext cx="10776642" cy="4417519"/>
            <a:chOff x="743846" y="1175913"/>
            <a:chExt cx="10776642" cy="441751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1600" b="1" dirty="0">
                    <a:cs typeface="+mn-ea"/>
                    <a:sym typeface="+mn-lt"/>
                  </a:rPr>
                  <a:t>部分新增需求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735770" y="291312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测试版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3867830" y="117591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69161" y="2965651"/>
              <a:ext cx="1706889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85000" lnSpcReduction="100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厂商信息</a:t>
              </a:r>
              <a:r>
                <a:rPr lang="en-US" altLang="zh-CN" sz="1600" b="1" dirty="0">
                  <a:cs typeface="+mn-ea"/>
                  <a:sym typeface="+mn-lt"/>
                </a:rPr>
                <a:t>excel</a:t>
              </a:r>
              <a:r>
                <a:rPr lang="zh-CN" altLang="en-US" sz="1600" b="1" dirty="0">
                  <a:cs typeface="+mn-ea"/>
                  <a:sym typeface="+mn-lt"/>
                </a:rPr>
                <a:t>导入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21077" y="294023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下载注册码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15934" y="2484510"/>
              <a:ext cx="414046" cy="414046"/>
              <a:chOff x="4259593" y="5526909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59593" y="552690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385934" y="567205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15582" y="2481428"/>
              <a:ext cx="414046" cy="414046"/>
              <a:chOff x="4314107" y="5521639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314107" y="552163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40448" y="564843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375289" y="2481427"/>
              <a:ext cx="414046" cy="414046"/>
              <a:chOff x="4166414" y="5521637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166414" y="5521637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292755" y="5674176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采集</a:t>
              </a:r>
              <a:r>
                <a:rPr lang="en-US" altLang="zh-CN" sz="1600" b="1" dirty="0">
                  <a:cs typeface="+mn-ea"/>
                  <a:sym typeface="+mn-lt"/>
                </a:rPr>
                <a:t>2.0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73707" y="476406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664153" y="4505860"/>
              <a:ext cx="2056924" cy="370980"/>
            </a:xfrm>
            <a:prstGeom prst="rect">
              <a:avLst/>
            </a:prstGeom>
          </p:spPr>
          <p:txBody>
            <a:bodyPr wrap="square" lIns="91440" tIns="45720" rIns="91440" bIns="45720">
              <a:no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ESAM </a:t>
              </a:r>
              <a:r>
                <a:rPr lang="zh-CN" altLang="en-US" sz="1600" b="1" dirty="0">
                  <a:cs typeface="+mn-ea"/>
                  <a:sym typeface="+mn-lt"/>
                </a:rPr>
                <a:t>文件大写转化 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925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取消文件上传限制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1C268-085D-4DE8-9101-2D4B52E5F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C3CDFC1-6EBB-4E2D-B6C2-D8AFFE2FC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3B0B5-0BBC-43E5-96DC-C5F1C630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606952-5690-442C-9C76-6AC1FD6C6A80}"/>
              </a:ext>
            </a:extLst>
          </p:cNvPr>
          <p:cNvGrpSpPr>
            <a:grpSpLocks noChangeAspect="1"/>
          </p:cNvGrpSpPr>
          <p:nvPr/>
        </p:nvGrpSpPr>
        <p:grpSpPr>
          <a:xfrm>
            <a:off x="673099" y="1336682"/>
            <a:ext cx="10847389" cy="4817595"/>
            <a:chOff x="673099" y="1336682"/>
            <a:chExt cx="10847389" cy="481759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172D5E2-99AE-4FB1-A405-CAB6DD831B1D}"/>
                </a:ext>
              </a:extLst>
            </p:cNvPr>
            <p:cNvGrpSpPr/>
            <p:nvPr/>
          </p:nvGrpSpPr>
          <p:grpSpPr>
            <a:xfrm>
              <a:off x="3621741" y="2326986"/>
              <a:ext cx="4948518" cy="1979406"/>
              <a:chOff x="3621741" y="2439297"/>
              <a:chExt cx="4948518" cy="1979406"/>
            </a:xfrm>
          </p:grpSpPr>
          <p:sp>
            <p:nvSpPr>
              <p:cNvPr id="49" name="形状 48">
                <a:extLst>
                  <a:ext uri="{FF2B5EF4-FFF2-40B4-BE49-F238E27FC236}">
                    <a16:creationId xmlns:a16="http://schemas.microsoft.com/office/drawing/2014/main" id="{DA299F04-3991-4AA9-809B-961C34AFC463}"/>
                  </a:ext>
                </a:extLst>
              </p:cNvPr>
              <p:cNvSpPr/>
              <p:nvPr/>
            </p:nvSpPr>
            <p:spPr>
              <a:xfrm>
                <a:off x="3621741" y="2439297"/>
                <a:ext cx="4948518" cy="1979406"/>
              </a:xfrm>
              <a:prstGeom prst="leftRightRibbon">
                <a:avLst>
                  <a:gd name="adj1" fmla="val 50000"/>
                  <a:gd name="adj2" fmla="val 50000"/>
                  <a:gd name="adj3" fmla="val 17379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6ABC88E8-5175-4723-A83B-83C398374EFD}"/>
                  </a:ext>
                </a:extLst>
              </p:cNvPr>
              <p:cNvSpPr txBox="1"/>
              <p:nvPr/>
            </p:nvSpPr>
            <p:spPr bwMode="auto">
              <a:xfrm>
                <a:off x="4500628" y="3006839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b="1" dirty="0">
                    <a:cs typeface="+mn-ea"/>
                    <a:sym typeface="+mn-lt"/>
                  </a:rPr>
                  <a:t>其他新需求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FEFEAFD1-D0CA-4646-9B80-E43BAF7E89D6}"/>
                  </a:ext>
                </a:extLst>
              </p:cNvPr>
              <p:cNvSpPr txBox="1"/>
              <p:nvPr/>
            </p:nvSpPr>
            <p:spPr bwMode="auto">
              <a:xfrm>
                <a:off x="6301289" y="3309388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BUG</a:t>
                </a:r>
                <a:r>
                  <a:rPr lang="zh-CN" altLang="en-US" b="1" dirty="0">
                    <a:cs typeface="+mn-ea"/>
                    <a:sym typeface="+mn-lt"/>
                  </a:rPr>
                  <a:t>修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35DC9054-357D-4F69-A718-C4EB9E7B316E}"/>
                </a:ext>
              </a:extLst>
            </p:cNvPr>
            <p:cNvGrpSpPr/>
            <p:nvPr/>
          </p:nvGrpSpPr>
          <p:grpSpPr>
            <a:xfrm>
              <a:off x="673100" y="1336682"/>
              <a:ext cx="2736851" cy="1033406"/>
              <a:chOff x="673100" y="1336682"/>
              <a:chExt cx="2736851" cy="1033406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DA9622D5-BECE-4CB7-B7CF-BA479A659EA2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7" name="椭圆 46">
                  <a:extLst>
                    <a:ext uri="{FF2B5EF4-FFF2-40B4-BE49-F238E27FC236}">
                      <a16:creationId xmlns:a16="http://schemas.microsoft.com/office/drawing/2014/main" id="{3AAE2F66-8D86-4D67-BDF4-38E9BB23C76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06C66DFE-ABD8-4AEB-A4B6-903E3C8B773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EB3597E-D000-4A5B-843E-FF7A0013684A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212C9FB6-F3DF-4811-BDFC-982A44FD8B5B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defTabSz="914378">
                    <a:defRPr/>
                  </a:pPr>
                  <a:r>
                    <a:rPr lang="en-US" altLang="zh-CN" sz="1600" b="1" dirty="0">
                      <a:cs typeface="+mn-ea"/>
                      <a:sym typeface="+mn-lt"/>
                    </a:rPr>
                    <a:t>APP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标识生成</a:t>
                  </a:r>
                </a:p>
              </p:txBody>
            </p:sp>
            <p:sp>
              <p:nvSpPr>
                <p:cNvPr id="46" name="矩形 45">
                  <a:extLst>
                    <a:ext uri="{FF2B5EF4-FFF2-40B4-BE49-F238E27FC236}">
                      <a16:creationId xmlns:a16="http://schemas.microsoft.com/office/drawing/2014/main" id="{ED126A44-D434-4B65-8807-6829D15AD177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0" indent="0" algn="l"/>
                  <a:r>
                    <a:rPr lang="en-US" altLang="zh-CN" sz="1000" dirty="0">
                      <a:effectLst/>
                    </a:rPr>
                    <a:t>APP</a:t>
                  </a:r>
                  <a:r>
                    <a:rPr lang="zh-CN" altLang="en-US" sz="1000" dirty="0">
                      <a:effectLst/>
                    </a:rPr>
                    <a:t>标识不通过类型可以重复</a:t>
                  </a: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7BBE3F-139D-49A4-9378-E73D0CDC665E}"/>
                </a:ext>
              </a:extLst>
            </p:cNvPr>
            <p:cNvGrpSpPr/>
            <p:nvPr/>
          </p:nvGrpSpPr>
          <p:grpSpPr>
            <a:xfrm>
              <a:off x="673099" y="2722059"/>
              <a:ext cx="2736852" cy="1287322"/>
              <a:chOff x="673099" y="1336682"/>
              <a:chExt cx="2736852" cy="1287322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2D138EA0-B987-42CB-895F-D87592690BDD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1" name="椭圆 40">
                  <a:extLst>
                    <a:ext uri="{FF2B5EF4-FFF2-40B4-BE49-F238E27FC236}">
                      <a16:creationId xmlns:a16="http://schemas.microsoft.com/office/drawing/2014/main" id="{F43089DB-234F-47A4-A829-70C6CE3F3CE4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E03751C1-769B-40DF-B1C9-4F1F692C0BBB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22F4C8A3-8377-44B2-9165-FBBBEEE47675}"/>
                  </a:ext>
                </a:extLst>
              </p:cNvPr>
              <p:cNvGrpSpPr/>
              <p:nvPr/>
            </p:nvGrpSpPr>
            <p:grpSpPr>
              <a:xfrm>
                <a:off x="673099" y="1339864"/>
                <a:ext cx="2186153" cy="1284140"/>
                <a:chOff x="5875775" y="1130300"/>
                <a:chExt cx="2186153" cy="1284140"/>
              </a:xfrm>
            </p:grpSpPr>
            <p:sp>
              <p:nvSpPr>
                <p:cNvPr id="39" name="矩形 38">
                  <a:extLst>
                    <a:ext uri="{FF2B5EF4-FFF2-40B4-BE49-F238E27FC236}">
                      <a16:creationId xmlns:a16="http://schemas.microsoft.com/office/drawing/2014/main" id="{BC717764-3B25-4882-8CC7-BB7F7D02F9A7}"/>
                    </a:ext>
                  </a:extLst>
                </p:cNvPr>
                <p:cNvSpPr/>
                <p:nvPr/>
              </p:nvSpPr>
              <p:spPr bwMode="auto">
                <a:xfrm>
                  <a:off x="6151320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defTabSz="914378">
                    <a:defRPr/>
                  </a:pPr>
                  <a:r>
                    <a:rPr lang="zh-CN" altLang="en-US" sz="1600" b="1" dirty="0">
                      <a:cs typeface="+mn-ea"/>
                      <a:sym typeface="+mn-lt"/>
                    </a:rPr>
                    <a:t>更换模板</a:t>
                  </a:r>
                </a:p>
              </p:txBody>
            </p:sp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09F694BC-FE72-4AF5-9F7D-5F6A6C210ABD}"/>
                    </a:ext>
                  </a:extLst>
                </p:cNvPr>
                <p:cNvSpPr/>
                <p:nvPr/>
              </p:nvSpPr>
              <p:spPr>
                <a:xfrm>
                  <a:off x="5875775" y="1522413"/>
                  <a:ext cx="1974363" cy="8920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更换注册码下载模板</a:t>
                  </a:r>
                  <a:b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</a:b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更换</a:t>
                  </a: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ESAM</a:t>
                  </a: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上传模板</a:t>
                  </a:r>
                  <a:b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</a:b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348BD8D-5537-47A3-9F7E-1105E5992533}"/>
                </a:ext>
              </a:extLst>
            </p:cNvPr>
            <p:cNvGrpSpPr/>
            <p:nvPr/>
          </p:nvGrpSpPr>
          <p:grpSpPr>
            <a:xfrm>
              <a:off x="673100" y="4107436"/>
              <a:ext cx="2736851" cy="1990599"/>
              <a:chOff x="673100" y="1336682"/>
              <a:chExt cx="2736851" cy="1990599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76A06202-BA45-474C-BCFA-5EC6D735F8EA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35" name="椭圆 34">
                  <a:extLst>
                    <a:ext uri="{FF2B5EF4-FFF2-40B4-BE49-F238E27FC236}">
                      <a16:creationId xmlns:a16="http://schemas.microsoft.com/office/drawing/2014/main" id="{469F4741-0DF8-4DAA-BDDE-1085CC32AD8C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7C888A1F-10EF-4427-B1C8-74EF839F2688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FCB5F828-B0FA-4D67-BF6E-C4A92D1A5211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987417"/>
                <a:chOff x="5875776" y="1130300"/>
                <a:chExt cx="1910608" cy="1987417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D60F80BD-3C73-4853-9166-D9A50F4533E3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zh-CN" altLang="en-US" sz="1600" b="1" kern="0" dirty="0">
                      <a:cs typeface="+mn-ea"/>
                      <a:sym typeface="+mn-lt"/>
                    </a:rPr>
                    <a:t>批量操作</a:t>
                  </a: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EDBCB0F9-794F-4FF8-B9DD-ABE545C71C64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159530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生成注册码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上架申请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algn="r">
                    <a:lnSpc>
                      <a:spcPct val="150000"/>
                    </a:lnSpc>
                  </a:pPr>
                  <a:r>
                    <a:rPr lang="zh-CN" altLang="en-US" sz="10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试用审核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 algn="r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A8BAE68-60BB-4E5D-9940-B0A95E15675B}"/>
                </a:ext>
              </a:extLst>
            </p:cNvPr>
            <p:cNvGrpSpPr/>
            <p:nvPr/>
          </p:nvGrpSpPr>
          <p:grpSpPr>
            <a:xfrm>
              <a:off x="8664844" y="2107301"/>
              <a:ext cx="2855644" cy="1033406"/>
              <a:chOff x="7222373" y="4107436"/>
              <a:chExt cx="2855644" cy="1033406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A9E3AA2-2AC4-40D8-837C-278F5A9533CC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5709985A-4032-43E5-B976-EA953E315157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4D949F07-33AE-447F-80DD-1A9CF4E0C7C4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FDE0392E-B8C9-4FE3-9C20-C6C4F3717352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4E82E71A-1287-45E8-9875-D2A9EB86527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zh-CN" altLang="en-US" sz="1600" b="1" kern="0" dirty="0">
                      <a:cs typeface="+mn-ea"/>
                      <a:sym typeface="+mn-lt"/>
                    </a:rPr>
                    <a:t>注册码生成失败</a:t>
                  </a:r>
                </a:p>
              </p:txBody>
            </p:sp>
            <p:sp>
              <p:nvSpPr>
                <p:cNvPr id="28" name="矩形 27">
                  <a:extLst>
                    <a:ext uri="{FF2B5EF4-FFF2-40B4-BE49-F238E27FC236}">
                      <a16:creationId xmlns:a16="http://schemas.microsoft.com/office/drawing/2014/main" id="{715461BC-FD33-4BE8-8E88-7484D2ED2DA9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最后一行多余内容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未找到</a:t>
                  </a: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ESAM</a:t>
                  </a: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文件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35C651D-635E-4F8F-8908-255F910EDB8A}"/>
                </a:ext>
              </a:extLst>
            </p:cNvPr>
            <p:cNvGrpSpPr/>
            <p:nvPr/>
          </p:nvGrpSpPr>
          <p:grpSpPr>
            <a:xfrm>
              <a:off x="8664844" y="3614086"/>
              <a:ext cx="2855644" cy="1033406"/>
              <a:chOff x="7222373" y="4107436"/>
              <a:chExt cx="2855644" cy="103340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42513E7-899B-43AF-9463-81D9AF21CD87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C0643201-A972-47EC-8AE3-3FA47DBC3C3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9A8EA14D-DCD5-4D5E-9DE3-B499DA77A88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C1A4E485-31E5-42B4-8AED-2EFD176F8C7F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E92450C7-C2E5-4CBD-B9A1-8E3B8CF6A49C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7EC133C5-11F1-4708-98FA-8ED6B29B7A82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统一加解密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库中历史数据替换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8F63540-F8A1-4D4F-8AB8-A2D3481B9F1A}"/>
                </a:ext>
              </a:extLst>
            </p:cNvPr>
            <p:cNvGrpSpPr/>
            <p:nvPr/>
          </p:nvGrpSpPr>
          <p:grpSpPr>
            <a:xfrm>
              <a:off x="8664844" y="5120871"/>
              <a:ext cx="2855644" cy="1033406"/>
              <a:chOff x="7222373" y="4107436"/>
              <a:chExt cx="2855644" cy="1033406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9BE9444-249D-4F58-9274-8C8A9F4765D2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17" name="椭圆 16">
                  <a:extLst>
                    <a:ext uri="{FF2B5EF4-FFF2-40B4-BE49-F238E27FC236}">
                      <a16:creationId xmlns:a16="http://schemas.microsoft.com/office/drawing/2014/main" id="{9B4A0534-96ED-43B0-A712-147B22AA9B8F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8246B7E-740C-4AF1-B27C-9AF11BD0BC8E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3EF4A81C-2216-4738-A75B-9CC7C79F9A4A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3451FCB7-9B4C-4C64-B81C-99243DF1A25A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zh-CN" altLang="en-US" sz="1600" b="1" kern="0" dirty="0">
                      <a:cs typeface="+mn-ea"/>
                      <a:sym typeface="+mn-lt"/>
                    </a:rPr>
                    <a:t>缺少按钮</a:t>
                  </a:r>
                </a:p>
              </p:txBody>
            </p:sp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FA8D1563-3F3A-425E-ACB3-2B635CDE4193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库未增加权限数据</a:t>
                  </a: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</p:grpSp>
      <p:sp>
        <p:nvSpPr>
          <p:cNvPr id="53" name="文本框 52">
            <a:extLst>
              <a:ext uri="{FF2B5EF4-FFF2-40B4-BE49-F238E27FC236}">
                <a16:creationId xmlns:a16="http://schemas.microsoft.com/office/drawing/2014/main" id="{095E52BC-0E6E-7F57-EE37-758B23CA9935}"/>
              </a:ext>
            </a:extLst>
          </p:cNvPr>
          <p:cNvSpPr txBox="1"/>
          <p:nvPr/>
        </p:nvSpPr>
        <p:spPr>
          <a:xfrm>
            <a:off x="906163" y="1731673"/>
            <a:ext cx="160834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CN" sz="1100" dirty="0"/>
              <a:t>APP</a:t>
            </a:r>
            <a:r>
              <a:rPr lang="zh-CN" altLang="en-US" sz="1100" dirty="0"/>
              <a:t>标识不通过类型可以重复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29810EA1-1CC4-E846-B860-8C2BAA7C6A6A}"/>
              </a:ext>
            </a:extLst>
          </p:cNvPr>
          <p:cNvSpPr/>
          <p:nvPr/>
        </p:nvSpPr>
        <p:spPr bwMode="auto">
          <a:xfrm>
            <a:off x="9609880" y="3616399"/>
            <a:ext cx="191060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defTabSz="914400"/>
            <a:r>
              <a:rPr lang="zh-CN" altLang="en-US" sz="1600" b="1" kern="0" dirty="0">
                <a:cs typeface="+mn-ea"/>
                <a:sym typeface="+mn-lt"/>
              </a:rPr>
              <a:t>身份证号解密不全</a:t>
            </a:r>
          </a:p>
        </p:txBody>
      </p:sp>
    </p:spTree>
    <p:extLst>
      <p:ext uri="{BB962C8B-B14F-4D97-AF65-F5344CB8AC3E}">
        <p14:creationId xmlns:p14="http://schemas.microsoft.com/office/powerpoint/2010/main" val="39519515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090794" y="2981325"/>
            <a:ext cx="4791016" cy="895350"/>
          </a:xfrm>
        </p:spPr>
        <p:txBody>
          <a:bodyPr>
            <a:normAutofit/>
          </a:bodyPr>
          <a:lstStyle/>
          <a:p>
            <a:r>
              <a:rPr lang="zh-CN" altLang="en-US" sz="3600" b="1" i="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车网互动公共服务平台</a:t>
            </a:r>
            <a:endParaRPr lang="zh-CN" altLang="en-US" sz="36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模块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86FBD3-EB40-4ED0-92C7-368944133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686211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聚合单元数据统计</a:t>
              </a:r>
              <a:endParaRPr lang="en-US" altLang="zh-CN" sz="14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桩实时接口接收，存储，统计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704001" y="1955518"/>
              <a:ext cx="2972517" cy="811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桩实时数据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相应的数据展示，存储</a:t>
              </a:r>
              <a:endParaRPr lang="en-US" altLang="zh-CN" sz="14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对外接口开发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863813" y="3703625"/>
              <a:ext cx="3082200" cy="678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需求响应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24249" y="2704825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新增，修改</a:t>
              </a:r>
              <a:endParaRPr lang="en-US" altLang="zh-CN" sz="1400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历史数据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20643" y="204432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签约关系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dirty="0">
                  <a:cs typeface="+mn-ea"/>
                  <a:sym typeface="+mn-lt"/>
                </a:rPr>
                <a:t>查询，存储</a:t>
              </a:r>
              <a:endParaRPr lang="en-US" altLang="zh-CN" sz="1400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3933801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运营商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在这</a:t>
            </a:r>
            <a:r>
              <a:rPr lang="en-US" altLang="zh-CN" dirty="0">
                <a:cs typeface="+mn-ea"/>
                <a:sym typeface="+mn-lt"/>
              </a:rPr>
              <a:t>3</a:t>
            </a:r>
            <a:r>
              <a:rPr lang="zh-CN" altLang="en-US" dirty="0">
                <a:cs typeface="+mn-ea"/>
                <a:sym typeface="+mn-lt"/>
              </a:rPr>
              <a:t>个月中学到了什么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customXml/itemProps2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0</TotalTime>
  <Words>451</Words>
  <Application>Microsoft Office PowerPoint</Application>
  <PresentationFormat>宽屏</PresentationFormat>
  <Paragraphs>127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2" baseType="lpstr">
      <vt:lpstr>等线</vt:lpstr>
      <vt:lpstr>Arial</vt:lpstr>
      <vt:lpstr>Calibri</vt:lpstr>
      <vt:lpstr>主题5</vt:lpstr>
      <vt:lpstr>think-cell Slide</vt:lpstr>
      <vt:lpstr>述职答辩  答辩人：陈仲贤   入职时间：2022.07.19</vt:lpstr>
      <vt:lpstr>PowerPoint 演示文稿</vt:lpstr>
      <vt:lpstr>营销微应用服务平台</vt:lpstr>
      <vt:lpstr>负责工作</vt:lpstr>
      <vt:lpstr>负责开发</vt:lpstr>
      <vt:lpstr>Click to edit Master title style</vt:lpstr>
      <vt:lpstr>车网互动公共服务平台</vt:lpstr>
      <vt:lpstr>负责模块</vt:lpstr>
      <vt:lpstr>提升点</vt:lpstr>
      <vt:lpstr>提升点</vt:lpstr>
      <vt:lpstr>实时方案说明</vt:lpstr>
      <vt:lpstr>历史方案说明</vt:lpstr>
      <vt:lpstr>不足之处</vt:lpstr>
      <vt:lpstr>不足之处</vt:lpstr>
      <vt:lpstr>未来规划</vt:lpstr>
      <vt:lpstr>未来规划--提高技术深度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 仲贤</cp:lastModifiedBy>
  <cp:revision>83</cp:revision>
  <cp:lastPrinted>2020-02-17T16:00:00Z</cp:lastPrinted>
  <dcterms:created xsi:type="dcterms:W3CDTF">2020-02-17T16:00:00Z</dcterms:created>
  <dcterms:modified xsi:type="dcterms:W3CDTF">2022-10-11T15:4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